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484" r:id="rId4"/>
  </p:sldMasterIdLst>
  <p:notesMasterIdLst>
    <p:notesMasterId r:id="rId21"/>
  </p:notesMasterIdLst>
  <p:handoutMasterIdLst>
    <p:handoutMasterId r:id="rId22"/>
  </p:handoutMasterIdLst>
  <p:sldIdLst>
    <p:sldId id="324" r:id="rId5"/>
    <p:sldId id="337" r:id="rId6"/>
    <p:sldId id="339" r:id="rId7"/>
    <p:sldId id="328" r:id="rId8"/>
    <p:sldId id="340" r:id="rId9"/>
    <p:sldId id="341" r:id="rId10"/>
    <p:sldId id="334" r:id="rId11"/>
    <p:sldId id="332" r:id="rId12"/>
    <p:sldId id="329" r:id="rId13"/>
    <p:sldId id="330" r:id="rId14"/>
    <p:sldId id="333" r:id="rId15"/>
    <p:sldId id="342" r:id="rId16"/>
    <p:sldId id="343" r:id="rId17"/>
    <p:sldId id="344" r:id="rId18"/>
    <p:sldId id="335" r:id="rId19"/>
    <p:sldId id="331" r:id="rId20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Wingdings 3" panose="05040102010807070707" pitchFamily="18" charset="2"/>
      <p:regular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baud Antignac" initials="TA.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70C0"/>
    <a:srgbClr val="FEC308"/>
    <a:srgbClr val="5A61A0"/>
    <a:srgbClr val="002BC4"/>
    <a:srgbClr val="1E7BE6"/>
    <a:srgbClr val="FD7627"/>
    <a:srgbClr val="88BF2C"/>
    <a:srgbClr val="053BFF"/>
    <a:srgbClr val="4B7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632FA8-FE63-45FC-B347-1B07E5B5DB83}" v="2" dt="2020-11-02T08:56:55.214"/>
    <p1510:client id="{16FDC7A5-817A-6661-7DC6-38207CFCFBDD}" v="2" dt="2020-11-02T16:02:41.082"/>
    <p1510:client id="{A7B484AF-3B83-4A17-9206-81E6D9190A6C}" v="3" dt="2020-11-01T13:00:19.6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28" autoAdjust="0"/>
    <p:restoredTop sz="92776"/>
  </p:normalViewPr>
  <p:slideViewPr>
    <p:cSldViewPr snapToGrid="0">
      <p:cViewPr varScale="1">
        <p:scale>
          <a:sx n="107" d="100"/>
          <a:sy n="107" d="100"/>
        </p:scale>
        <p:origin x="2742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3" d="100"/>
          <a:sy n="83" d="100"/>
        </p:scale>
        <p:origin x="2514" y="10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igaliūnas Šarūnas" userId="34283562-2069-4c74-94e4-47dcf34b3e9d" providerId="ADAL" clId="{09632FA8-FE63-45FC-B347-1B07E5B5DB83}"/>
    <pc:docChg chg="custSel addSld modSld">
      <pc:chgData name="Grigaliūnas Šarūnas" userId="34283562-2069-4c74-94e4-47dcf34b3e9d" providerId="ADAL" clId="{09632FA8-FE63-45FC-B347-1B07E5B5DB83}" dt="2020-11-02T09:05:16.682" v="229" actId="6549"/>
      <pc:docMkLst>
        <pc:docMk/>
      </pc:docMkLst>
      <pc:sldChg chg="modSp mod">
        <pc:chgData name="Grigaliūnas Šarūnas" userId="34283562-2069-4c74-94e4-47dcf34b3e9d" providerId="ADAL" clId="{09632FA8-FE63-45FC-B347-1B07E5B5DB83}" dt="2020-11-02T09:03:13.279" v="211" actId="20577"/>
        <pc:sldMkLst>
          <pc:docMk/>
          <pc:sldMk cId="3673389196" sldId="333"/>
        </pc:sldMkLst>
        <pc:graphicFrameChg chg="modGraphic">
          <ac:chgData name="Grigaliūnas Šarūnas" userId="34283562-2069-4c74-94e4-47dcf34b3e9d" providerId="ADAL" clId="{09632FA8-FE63-45FC-B347-1B07E5B5DB83}" dt="2020-11-02T09:03:13.279" v="211" actId="20577"/>
          <ac:graphicFrameMkLst>
            <pc:docMk/>
            <pc:sldMk cId="3673389196" sldId="333"/>
            <ac:graphicFrameMk id="7" creationId="{00000000-0000-0000-0000-000000000000}"/>
          </ac:graphicFrameMkLst>
        </pc:graphicFrameChg>
      </pc:sldChg>
      <pc:sldChg chg="modSp mod">
        <pc:chgData name="Grigaliūnas Šarūnas" userId="34283562-2069-4c74-94e4-47dcf34b3e9d" providerId="ADAL" clId="{09632FA8-FE63-45FC-B347-1B07E5B5DB83}" dt="2020-11-02T09:04:23.814" v="219" actId="790"/>
        <pc:sldMkLst>
          <pc:docMk/>
          <pc:sldMk cId="2318513637" sldId="335"/>
        </pc:sldMkLst>
        <pc:spChg chg="mod">
          <ac:chgData name="Grigaliūnas Šarūnas" userId="34283562-2069-4c74-94e4-47dcf34b3e9d" providerId="ADAL" clId="{09632FA8-FE63-45FC-B347-1B07E5B5DB83}" dt="2020-11-02T09:04:23.814" v="219" actId="790"/>
          <ac:spMkLst>
            <pc:docMk/>
            <pc:sldMk cId="2318513637" sldId="335"/>
            <ac:spMk id="3" creationId="{799F0033-D5D6-4151-A0B0-DC9A0BAA8272}"/>
          </ac:spMkLst>
        </pc:spChg>
      </pc:sldChg>
      <pc:sldChg chg="modSp mod">
        <pc:chgData name="Grigaliūnas Šarūnas" userId="34283562-2069-4c74-94e4-47dcf34b3e9d" providerId="ADAL" clId="{09632FA8-FE63-45FC-B347-1B07E5B5DB83}" dt="2020-11-02T09:05:16.682" v="229" actId="6549"/>
        <pc:sldMkLst>
          <pc:docMk/>
          <pc:sldMk cId="1706885909" sldId="337"/>
        </pc:sldMkLst>
        <pc:spChg chg="mod">
          <ac:chgData name="Grigaliūnas Šarūnas" userId="34283562-2069-4c74-94e4-47dcf34b3e9d" providerId="ADAL" clId="{09632FA8-FE63-45FC-B347-1B07E5B5DB83}" dt="2020-11-02T09:05:16.682" v="229" actId="6549"/>
          <ac:spMkLst>
            <pc:docMk/>
            <pc:sldMk cId="1706885909" sldId="337"/>
            <ac:spMk id="3" creationId="{4872BBC7-8581-4C30-9436-598F721791B4}"/>
          </ac:spMkLst>
        </pc:spChg>
      </pc:sldChg>
      <pc:sldChg chg="modSp mod">
        <pc:chgData name="Grigaliūnas Šarūnas" userId="34283562-2069-4c74-94e4-47dcf34b3e9d" providerId="ADAL" clId="{09632FA8-FE63-45FC-B347-1B07E5B5DB83}" dt="2020-11-02T08:57:38.530" v="137" actId="790"/>
        <pc:sldMkLst>
          <pc:docMk/>
          <pc:sldMk cId="2358188810" sldId="340"/>
        </pc:sldMkLst>
        <pc:spChg chg="mod">
          <ac:chgData name="Grigaliūnas Šarūnas" userId="34283562-2069-4c74-94e4-47dcf34b3e9d" providerId="ADAL" clId="{09632FA8-FE63-45FC-B347-1B07E5B5DB83}" dt="2020-11-02T08:57:38.530" v="137" actId="790"/>
          <ac:spMkLst>
            <pc:docMk/>
            <pc:sldMk cId="2358188810" sldId="340"/>
            <ac:spMk id="3" creationId="{C72C29BA-7883-4DE8-BF44-C60D41F1C136}"/>
          </ac:spMkLst>
        </pc:spChg>
      </pc:sldChg>
      <pc:sldChg chg="modSp mod">
        <pc:chgData name="Grigaliūnas Šarūnas" userId="34283562-2069-4c74-94e4-47dcf34b3e9d" providerId="ADAL" clId="{09632FA8-FE63-45FC-B347-1B07E5B5DB83}" dt="2020-11-02T09:01:58.121" v="201" actId="6549"/>
        <pc:sldMkLst>
          <pc:docMk/>
          <pc:sldMk cId="3861759939" sldId="341"/>
        </pc:sldMkLst>
        <pc:spChg chg="mod">
          <ac:chgData name="Grigaliūnas Šarūnas" userId="34283562-2069-4c74-94e4-47dcf34b3e9d" providerId="ADAL" clId="{09632FA8-FE63-45FC-B347-1B07E5B5DB83}" dt="2020-11-02T09:01:58.121" v="201" actId="6549"/>
          <ac:spMkLst>
            <pc:docMk/>
            <pc:sldMk cId="3861759939" sldId="341"/>
            <ac:spMk id="3" creationId="{8D068189-4FCB-4030-80F8-C0994006C6A3}"/>
          </ac:spMkLst>
        </pc:spChg>
      </pc:sldChg>
      <pc:sldChg chg="modSp mod">
        <pc:chgData name="Grigaliūnas Šarūnas" userId="34283562-2069-4c74-94e4-47dcf34b3e9d" providerId="ADAL" clId="{09632FA8-FE63-45FC-B347-1B07E5B5DB83}" dt="2020-11-02T09:04:45.225" v="224" actId="20577"/>
        <pc:sldMkLst>
          <pc:docMk/>
          <pc:sldMk cId="637679698" sldId="342"/>
        </pc:sldMkLst>
        <pc:spChg chg="mod">
          <ac:chgData name="Grigaliūnas Šarūnas" userId="34283562-2069-4c74-94e4-47dcf34b3e9d" providerId="ADAL" clId="{09632FA8-FE63-45FC-B347-1B07E5B5DB83}" dt="2020-11-02T09:04:45.225" v="224" actId="20577"/>
          <ac:spMkLst>
            <pc:docMk/>
            <pc:sldMk cId="637679698" sldId="342"/>
            <ac:spMk id="3" creationId="{8D068189-4FCB-4030-80F8-C0994006C6A3}"/>
          </ac:spMkLst>
        </pc:spChg>
      </pc:sldChg>
      <pc:sldChg chg="addSp delSp modSp add mod">
        <pc:chgData name="Grigaliūnas Šarūnas" userId="34283562-2069-4c74-94e4-47dcf34b3e9d" providerId="ADAL" clId="{09632FA8-FE63-45FC-B347-1B07E5B5DB83}" dt="2020-11-02T08:56:08.182" v="101" actId="962"/>
        <pc:sldMkLst>
          <pc:docMk/>
          <pc:sldMk cId="2862046831" sldId="343"/>
        </pc:sldMkLst>
        <pc:spChg chg="mod">
          <ac:chgData name="Grigaliūnas Šarūnas" userId="34283562-2069-4c74-94e4-47dcf34b3e9d" providerId="ADAL" clId="{09632FA8-FE63-45FC-B347-1B07E5B5DB83}" dt="2020-11-02T08:55:26.033" v="96" actId="20577"/>
          <ac:spMkLst>
            <pc:docMk/>
            <pc:sldMk cId="2862046831" sldId="343"/>
            <ac:spMk id="2" creationId="{E5876D9F-F61E-46A7-9771-308BC692ACB5}"/>
          </ac:spMkLst>
        </pc:spChg>
        <pc:spChg chg="del">
          <ac:chgData name="Grigaliūnas Šarūnas" userId="34283562-2069-4c74-94e4-47dcf34b3e9d" providerId="ADAL" clId="{09632FA8-FE63-45FC-B347-1B07E5B5DB83}" dt="2020-11-02T08:55:41.253" v="97" actId="478"/>
          <ac:spMkLst>
            <pc:docMk/>
            <pc:sldMk cId="2862046831" sldId="343"/>
            <ac:spMk id="3" creationId="{C72C29BA-7883-4DE8-BF44-C60D41F1C136}"/>
          </ac:spMkLst>
        </pc:spChg>
        <pc:spChg chg="add del mod">
          <ac:chgData name="Grigaliūnas Šarūnas" userId="34283562-2069-4c74-94e4-47dcf34b3e9d" providerId="ADAL" clId="{09632FA8-FE63-45FC-B347-1B07E5B5DB83}" dt="2020-11-02T08:56:03.146" v="98"/>
          <ac:spMkLst>
            <pc:docMk/>
            <pc:sldMk cId="2862046831" sldId="343"/>
            <ac:spMk id="5" creationId="{BDCAE7EE-B1A1-4502-9194-6F9257A4A77C}"/>
          </ac:spMkLst>
        </pc:spChg>
        <pc:picChg chg="add mod">
          <ac:chgData name="Grigaliūnas Šarūnas" userId="34283562-2069-4c74-94e4-47dcf34b3e9d" providerId="ADAL" clId="{09632FA8-FE63-45FC-B347-1B07E5B5DB83}" dt="2020-11-02T08:56:08.182" v="101" actId="962"/>
          <ac:picMkLst>
            <pc:docMk/>
            <pc:sldMk cId="2862046831" sldId="343"/>
            <ac:picMk id="7" creationId="{714DD2D7-E54B-463F-BC0A-60C952D2127B}"/>
          </ac:picMkLst>
        </pc:picChg>
      </pc:sldChg>
      <pc:sldChg chg="addSp delSp modSp add mod">
        <pc:chgData name="Grigaliūnas Šarūnas" userId="34283562-2069-4c74-94e4-47dcf34b3e9d" providerId="ADAL" clId="{09632FA8-FE63-45FC-B347-1B07E5B5DB83}" dt="2020-11-02T08:57:02.103" v="133" actId="14100"/>
        <pc:sldMkLst>
          <pc:docMk/>
          <pc:sldMk cId="841210909" sldId="344"/>
        </pc:sldMkLst>
        <pc:spChg chg="mod">
          <ac:chgData name="Grigaliūnas Šarūnas" userId="34283562-2069-4c74-94e4-47dcf34b3e9d" providerId="ADAL" clId="{09632FA8-FE63-45FC-B347-1B07E5B5DB83}" dt="2020-11-02T08:56:47.961" v="128" actId="20577"/>
          <ac:spMkLst>
            <pc:docMk/>
            <pc:sldMk cId="841210909" sldId="344"/>
            <ac:spMk id="2" creationId="{E5876D9F-F61E-46A7-9771-308BC692ACB5}"/>
          </ac:spMkLst>
        </pc:spChg>
        <pc:spChg chg="add del mod">
          <ac:chgData name="Grigaliūnas Šarūnas" userId="34283562-2069-4c74-94e4-47dcf34b3e9d" providerId="ADAL" clId="{09632FA8-FE63-45FC-B347-1B07E5B5DB83}" dt="2020-11-02T08:56:55.213" v="130"/>
          <ac:spMkLst>
            <pc:docMk/>
            <pc:sldMk cId="841210909" sldId="344"/>
            <ac:spMk id="4" creationId="{F37D1C7B-9E72-4D82-8D6E-ACEBC3C604DF}"/>
          </ac:spMkLst>
        </pc:spChg>
        <pc:picChg chg="add mod">
          <ac:chgData name="Grigaliūnas Šarūnas" userId="34283562-2069-4c74-94e4-47dcf34b3e9d" providerId="ADAL" clId="{09632FA8-FE63-45FC-B347-1B07E5B5DB83}" dt="2020-11-02T08:57:02.103" v="133" actId="14100"/>
          <ac:picMkLst>
            <pc:docMk/>
            <pc:sldMk cId="841210909" sldId="344"/>
            <ac:picMk id="6" creationId="{146DF79B-DFF8-4538-BCFE-631F1074F4DB}"/>
          </ac:picMkLst>
        </pc:picChg>
        <pc:picChg chg="del">
          <ac:chgData name="Grigaliūnas Šarūnas" userId="34283562-2069-4c74-94e4-47dcf34b3e9d" providerId="ADAL" clId="{09632FA8-FE63-45FC-B347-1B07E5B5DB83}" dt="2020-11-02T08:56:51.021" v="129" actId="478"/>
          <ac:picMkLst>
            <pc:docMk/>
            <pc:sldMk cId="841210909" sldId="344"/>
            <ac:picMk id="7" creationId="{714DD2D7-E54B-463F-BC0A-60C952D2127B}"/>
          </ac:picMkLst>
        </pc:picChg>
      </pc:sldChg>
    </pc:docChg>
  </pc:docChgLst>
  <pc:docChgLst>
    <pc:chgData name="Venčkauskas Algimantas" userId="S::algvenc@ktu.lt::a8246ee5-a9d0-400b-b6dd-04bde99db46b" providerId="AD" clId="Web-{16FDC7A5-817A-6661-7DC6-38207CFCFBDD}"/>
    <pc:docChg chg="sldOrd">
      <pc:chgData name="Venčkauskas Algimantas" userId="S::algvenc@ktu.lt::a8246ee5-a9d0-400b-b6dd-04bde99db46b" providerId="AD" clId="Web-{16FDC7A5-817A-6661-7DC6-38207CFCFBDD}" dt="2020-11-02T16:02:41.082" v="1"/>
      <pc:docMkLst>
        <pc:docMk/>
      </pc:docMkLst>
      <pc:sldChg chg="ord">
        <pc:chgData name="Venčkauskas Algimantas" userId="S::algvenc@ktu.lt::a8246ee5-a9d0-400b-b6dd-04bde99db46b" providerId="AD" clId="Web-{16FDC7A5-817A-6661-7DC6-38207CFCFBDD}" dt="2020-11-02T16:02:36.144" v="0"/>
        <pc:sldMkLst>
          <pc:docMk/>
          <pc:sldMk cId="2862046831" sldId="343"/>
        </pc:sldMkLst>
      </pc:sldChg>
      <pc:sldChg chg="ord">
        <pc:chgData name="Venčkauskas Algimantas" userId="S::algvenc@ktu.lt::a8246ee5-a9d0-400b-b6dd-04bde99db46b" providerId="AD" clId="Web-{16FDC7A5-817A-6661-7DC6-38207CFCFBDD}" dt="2020-11-02T16:02:41.082" v="1"/>
        <pc:sldMkLst>
          <pc:docMk/>
          <pc:sldMk cId="841210909" sldId="344"/>
        </pc:sldMkLst>
      </pc:sldChg>
    </pc:docChg>
  </pc:docChgLst>
  <pc:docChgLst>
    <pc:chgData name="Venčkauskas Algimantas" userId="a8246ee5-a9d0-400b-b6dd-04bde99db46b" providerId="ADAL" clId="{A7B484AF-3B83-4A17-9206-81E6D9190A6C}"/>
    <pc:docChg chg="undo redo custSel addSld delSld modSld sldOrd">
      <pc:chgData name="Venčkauskas Algimantas" userId="a8246ee5-a9d0-400b-b6dd-04bde99db46b" providerId="ADAL" clId="{A7B484AF-3B83-4A17-9206-81E6D9190A6C}" dt="2020-11-01T16:57:34.965" v="210" actId="1076"/>
      <pc:docMkLst>
        <pc:docMk/>
      </pc:docMkLst>
      <pc:sldChg chg="modSp mod">
        <pc:chgData name="Venčkauskas Algimantas" userId="a8246ee5-a9d0-400b-b6dd-04bde99db46b" providerId="ADAL" clId="{A7B484AF-3B83-4A17-9206-81E6D9190A6C}" dt="2020-11-01T16:57:34.965" v="210" actId="1076"/>
        <pc:sldMkLst>
          <pc:docMk/>
          <pc:sldMk cId="1909573580" sldId="332"/>
        </pc:sldMkLst>
        <pc:picChg chg="mod">
          <ac:chgData name="Venčkauskas Algimantas" userId="a8246ee5-a9d0-400b-b6dd-04bde99db46b" providerId="ADAL" clId="{A7B484AF-3B83-4A17-9206-81E6D9190A6C}" dt="2020-11-01T16:57:34.965" v="210" actId="1076"/>
          <ac:picMkLst>
            <pc:docMk/>
            <pc:sldMk cId="1909573580" sldId="332"/>
            <ac:picMk id="6" creationId="{A8554266-EC09-4682-AA00-7167C24E62BF}"/>
          </ac:picMkLst>
        </pc:picChg>
      </pc:sldChg>
      <pc:sldChg chg="modSp mod">
        <pc:chgData name="Venčkauskas Algimantas" userId="a8246ee5-a9d0-400b-b6dd-04bde99db46b" providerId="ADAL" clId="{A7B484AF-3B83-4A17-9206-81E6D9190A6C}" dt="2020-11-01T09:20:40.414" v="12" actId="1076"/>
        <pc:sldMkLst>
          <pc:docMk/>
          <pc:sldMk cId="2891047706" sldId="334"/>
        </pc:sldMkLst>
        <pc:picChg chg="mod">
          <ac:chgData name="Venčkauskas Algimantas" userId="a8246ee5-a9d0-400b-b6dd-04bde99db46b" providerId="ADAL" clId="{A7B484AF-3B83-4A17-9206-81E6D9190A6C}" dt="2020-11-01T09:20:40.414" v="12" actId="1076"/>
          <ac:picMkLst>
            <pc:docMk/>
            <pc:sldMk cId="2891047706" sldId="334"/>
            <ac:picMk id="4" creationId="{00000000-0000-0000-0000-000000000000}"/>
          </ac:picMkLst>
        </pc:picChg>
      </pc:sldChg>
      <pc:sldChg chg="modSp mod">
        <pc:chgData name="Venčkauskas Algimantas" userId="a8246ee5-a9d0-400b-b6dd-04bde99db46b" providerId="ADAL" clId="{A7B484AF-3B83-4A17-9206-81E6D9190A6C}" dt="2020-11-01T13:42:26.069" v="208" actId="20577"/>
        <pc:sldMkLst>
          <pc:docMk/>
          <pc:sldMk cId="2318513637" sldId="335"/>
        </pc:sldMkLst>
        <pc:spChg chg="mod">
          <ac:chgData name="Venčkauskas Algimantas" userId="a8246ee5-a9d0-400b-b6dd-04bde99db46b" providerId="ADAL" clId="{A7B484AF-3B83-4A17-9206-81E6D9190A6C}" dt="2020-11-01T13:39:45.588" v="199" actId="20577"/>
          <ac:spMkLst>
            <pc:docMk/>
            <pc:sldMk cId="2318513637" sldId="335"/>
            <ac:spMk id="2" creationId="{2B811E4B-1B49-43AA-BD2A-0E36F5CE434B}"/>
          </ac:spMkLst>
        </pc:spChg>
        <pc:spChg chg="mod">
          <ac:chgData name="Venčkauskas Algimantas" userId="a8246ee5-a9d0-400b-b6dd-04bde99db46b" providerId="ADAL" clId="{A7B484AF-3B83-4A17-9206-81E6D9190A6C}" dt="2020-11-01T13:42:26.069" v="208" actId="20577"/>
          <ac:spMkLst>
            <pc:docMk/>
            <pc:sldMk cId="2318513637" sldId="335"/>
            <ac:spMk id="3" creationId="{799F0033-D5D6-4151-A0B0-DC9A0BAA8272}"/>
          </ac:spMkLst>
        </pc:spChg>
      </pc:sldChg>
      <pc:sldChg chg="del">
        <pc:chgData name="Venčkauskas Algimantas" userId="a8246ee5-a9d0-400b-b6dd-04bde99db46b" providerId="ADAL" clId="{A7B484AF-3B83-4A17-9206-81E6D9190A6C}" dt="2020-11-01T13:42:55.792" v="209" actId="47"/>
        <pc:sldMkLst>
          <pc:docMk/>
          <pc:sldMk cId="1537548680" sldId="336"/>
        </pc:sldMkLst>
      </pc:sldChg>
      <pc:sldChg chg="modSp mod">
        <pc:chgData name="Venčkauskas Algimantas" userId="a8246ee5-a9d0-400b-b6dd-04bde99db46b" providerId="ADAL" clId="{A7B484AF-3B83-4A17-9206-81E6D9190A6C}" dt="2020-11-01T12:56:57.099" v="32" actId="6549"/>
        <pc:sldMkLst>
          <pc:docMk/>
          <pc:sldMk cId="1706885909" sldId="337"/>
        </pc:sldMkLst>
        <pc:spChg chg="mod">
          <ac:chgData name="Venčkauskas Algimantas" userId="a8246ee5-a9d0-400b-b6dd-04bde99db46b" providerId="ADAL" clId="{A7B484AF-3B83-4A17-9206-81E6D9190A6C}" dt="2020-11-01T09:19:18.524" v="11" actId="14100"/>
          <ac:spMkLst>
            <pc:docMk/>
            <pc:sldMk cId="1706885909" sldId="337"/>
            <ac:spMk id="2" creationId="{C0F29E37-B314-4530-8F9C-0461101865E0}"/>
          </ac:spMkLst>
        </pc:spChg>
        <pc:spChg chg="mod">
          <ac:chgData name="Venčkauskas Algimantas" userId="a8246ee5-a9d0-400b-b6dd-04bde99db46b" providerId="ADAL" clId="{A7B484AF-3B83-4A17-9206-81E6D9190A6C}" dt="2020-11-01T12:56:57.099" v="32" actId="6549"/>
          <ac:spMkLst>
            <pc:docMk/>
            <pc:sldMk cId="1706885909" sldId="337"/>
            <ac:spMk id="3" creationId="{4872BBC7-8581-4C30-9436-598F721791B4}"/>
          </ac:spMkLst>
        </pc:spChg>
      </pc:sldChg>
      <pc:sldChg chg="modSp mod">
        <pc:chgData name="Venčkauskas Algimantas" userId="a8246ee5-a9d0-400b-b6dd-04bde99db46b" providerId="ADAL" clId="{A7B484AF-3B83-4A17-9206-81E6D9190A6C}" dt="2020-11-01T12:57:10.338" v="40" actId="6549"/>
        <pc:sldMkLst>
          <pc:docMk/>
          <pc:sldMk cId="2358188810" sldId="340"/>
        </pc:sldMkLst>
        <pc:spChg chg="mod">
          <ac:chgData name="Venčkauskas Algimantas" userId="a8246ee5-a9d0-400b-b6dd-04bde99db46b" providerId="ADAL" clId="{A7B484AF-3B83-4A17-9206-81E6D9190A6C}" dt="2020-11-01T12:57:10.338" v="40" actId="6549"/>
          <ac:spMkLst>
            <pc:docMk/>
            <pc:sldMk cId="2358188810" sldId="340"/>
            <ac:spMk id="3" creationId="{C72C29BA-7883-4DE8-BF44-C60D41F1C136}"/>
          </ac:spMkLst>
        </pc:spChg>
      </pc:sldChg>
      <pc:sldChg chg="modSp add mod ord">
        <pc:chgData name="Venčkauskas Algimantas" userId="a8246ee5-a9d0-400b-b6dd-04bde99db46b" providerId="ADAL" clId="{A7B484AF-3B83-4A17-9206-81E6D9190A6C}" dt="2020-11-01T13:06:52.452" v="125" actId="5793"/>
        <pc:sldMkLst>
          <pc:docMk/>
          <pc:sldMk cId="637679698" sldId="342"/>
        </pc:sldMkLst>
        <pc:spChg chg="mod">
          <ac:chgData name="Venčkauskas Algimantas" userId="a8246ee5-a9d0-400b-b6dd-04bde99db46b" providerId="ADAL" clId="{A7B484AF-3B83-4A17-9206-81E6D9190A6C}" dt="2020-11-01T13:01:27.380" v="78" actId="255"/>
          <ac:spMkLst>
            <pc:docMk/>
            <pc:sldMk cId="637679698" sldId="342"/>
            <ac:spMk id="2" creationId="{BE810B52-F42A-401C-89CC-AEE8B034159D}"/>
          </ac:spMkLst>
        </pc:spChg>
        <pc:spChg chg="mod">
          <ac:chgData name="Venčkauskas Algimantas" userId="a8246ee5-a9d0-400b-b6dd-04bde99db46b" providerId="ADAL" clId="{A7B484AF-3B83-4A17-9206-81E6D9190A6C}" dt="2020-11-01T13:06:52.452" v="125" actId="5793"/>
          <ac:spMkLst>
            <pc:docMk/>
            <pc:sldMk cId="637679698" sldId="342"/>
            <ac:spMk id="3" creationId="{8D068189-4FCB-4030-80F8-C0994006C6A3}"/>
          </ac:spMkLst>
        </pc:spChg>
      </pc:sldChg>
      <pc:sldChg chg="add del">
        <pc:chgData name="Venčkauskas Algimantas" userId="a8246ee5-a9d0-400b-b6dd-04bde99db46b" providerId="ADAL" clId="{A7B484AF-3B83-4A17-9206-81E6D9190A6C}" dt="2020-11-01T13:00:19.596" v="45"/>
        <pc:sldMkLst>
          <pc:docMk/>
          <pc:sldMk cId="1755206181" sldId="34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11/2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11/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6.bin"/><Relationship Id="rId1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x-none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1089EFB-747E-4AE1-A818-EF658C15C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oleObject" Target="../embeddings/oleObject5.bin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oleObject" Target="../embeddings/oleObject3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tags" Target="../tags/tag6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AF223-A835-41C0-8FF1-67DF95B1804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CF3972-DE24-411F-B61E-BE6ABD1EF009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#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001CF49D-6018-43E2-AA50-A37C37DD3866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B6A8E5E9-3DED-4186-BD10-F2C817F7F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4CAD0CA-F2B7-4794-AF83-E1200D8C943A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5" r:id="rId9"/>
    <p:sldLayoutId id="2147484496" r:id="rId10"/>
    <p:sldLayoutId id="2147484498" r:id="rId11"/>
    <p:sldLayoutId id="2147484499" r:id="rId12"/>
    <p:sldLayoutId id="2147484504" r:id="rId13"/>
    <p:sldLayoutId id="2147484507" r:id="rId14"/>
    <p:sldLayoutId id="2147484511" r:id="rId15"/>
    <p:sldLayoutId id="2147484512" r:id="rId16"/>
    <p:sldLayoutId id="2147484513" r:id="rId17"/>
    <p:sldLayoutId id="2147484514" r:id="rId18"/>
    <p:sldLayoutId id="2147484518" r:id="rId19"/>
    <p:sldLayoutId id="2147484516" r:id="rId20"/>
    <p:sldLayoutId id="2147484517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7D72A-0E1C-DD47-819D-6501ED33C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6773675" cy="481467"/>
          </a:xfrm>
        </p:spPr>
        <p:txBody>
          <a:bodyPr/>
          <a:lstStyle/>
          <a:p>
            <a:r>
              <a:rPr lang="en-GB" dirty="0"/>
              <a:t>D9.4  Pilot  of  Cyber  training  &amp;  exercise  Framework Roadmap</a:t>
            </a:r>
            <a:endParaRPr lang="en-L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051D8E-F6FA-394D-BD06-5C1C323191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Kaunas University of Technology</a:t>
            </a:r>
          </a:p>
        </p:txBody>
      </p:sp>
    </p:spTree>
    <p:extLst>
      <p:ext uri="{BB962C8B-B14F-4D97-AF65-F5344CB8AC3E}">
        <p14:creationId xmlns:p14="http://schemas.microsoft.com/office/powerpoint/2010/main" val="8512412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5DFE684-1A30-4322-89BC-5DBDC00945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4" y="1342800"/>
            <a:ext cx="3261600" cy="4968000"/>
          </a:xfrm>
        </p:spPr>
        <p:txBody>
          <a:bodyPr>
            <a:normAutofit/>
          </a:bodyPr>
          <a:lstStyle/>
          <a:p>
            <a:r>
              <a:rPr lang="en-GB" dirty="0"/>
              <a:t>It is </a:t>
            </a:r>
            <a:r>
              <a:rPr lang="en-GB" b="1" dirty="0"/>
              <a:t>necessary to use a framework</a:t>
            </a:r>
            <a:r>
              <a:rPr lang="en-GB" dirty="0"/>
              <a:t>. </a:t>
            </a:r>
          </a:p>
          <a:p>
            <a:r>
              <a:rPr lang="en-GB" dirty="0"/>
              <a:t>This may be known from the analysis already performed. It is also possible to provide your own knowledge-based framework, which will </a:t>
            </a:r>
            <a:r>
              <a:rPr lang="en-GB" b="1" dirty="0"/>
              <a:t>cover the organizational and technical means</a:t>
            </a:r>
            <a:r>
              <a:rPr lang="en-GB" dirty="0"/>
              <a:t>. </a:t>
            </a:r>
          </a:p>
          <a:p>
            <a:r>
              <a:rPr lang="en-GB" dirty="0"/>
              <a:t>This will </a:t>
            </a:r>
            <a:r>
              <a:rPr lang="en-GB" b="1" dirty="0"/>
              <a:t>reach more users </a:t>
            </a:r>
            <a:r>
              <a:rPr lang="en-GB" dirty="0"/>
              <a:t>and get more benefits.</a:t>
            </a:r>
          </a:p>
          <a:p>
            <a:r>
              <a:rPr lang="en-GB" dirty="0"/>
              <a:t>KTU can provide a framework which will be </a:t>
            </a:r>
            <a:r>
              <a:rPr lang="en-GB" b="1" dirty="0"/>
              <a:t>based on the storyline</a:t>
            </a:r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88F2BBCC-D6A5-41FF-BEEF-9BF8FAADDF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113" y="1637545"/>
            <a:ext cx="6814800" cy="4378509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118E0F-4096-489B-9885-3DB8FD462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KTU Cyber Range IDEA</a:t>
            </a:r>
          </a:p>
        </p:txBody>
      </p:sp>
    </p:spTree>
    <p:extLst>
      <p:ext uri="{BB962C8B-B14F-4D97-AF65-F5344CB8AC3E}">
        <p14:creationId xmlns:p14="http://schemas.microsoft.com/office/powerpoint/2010/main" val="380611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533073401"/>
              </p:ext>
            </p:extLst>
          </p:nvPr>
        </p:nvGraphicFramePr>
        <p:xfrm>
          <a:off x="538606" y="1842756"/>
          <a:ext cx="10367962" cy="4363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6166">
                  <a:extLst>
                    <a:ext uri="{9D8B030D-6E8A-4147-A177-3AD203B41FA5}">
                      <a16:colId xmlns:a16="http://schemas.microsoft.com/office/drawing/2014/main" val="1167657317"/>
                    </a:ext>
                  </a:extLst>
                </a:gridCol>
                <a:gridCol w="5951796">
                  <a:extLst>
                    <a:ext uri="{9D8B030D-6E8A-4147-A177-3AD203B41FA5}">
                      <a16:colId xmlns:a16="http://schemas.microsoft.com/office/drawing/2014/main" val="2991784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 b="1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ol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 b="1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uments, dat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99893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ssword caution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ess profile (username / password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821100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-mail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-mail message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64157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erse-shell (Meterpreter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G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46669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eylog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k image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81403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ensic tool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S image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66192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QL injecti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 ima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4546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work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ffic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22570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reenshot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87652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rious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uments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.</a:t>
                      </a: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lsx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.</a:t>
                      </a: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x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.</a:t>
                      </a:r>
                      <a:r>
                        <a:rPr lang="lt-LT" sz="2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xt</a:t>
                      </a:r>
                      <a:r>
                        <a:rPr lang="lt-LT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0026318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5B118E0F-4096-489B-9885-3DB8FD462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/>
          </a:bodyPr>
          <a:lstStyle/>
          <a:p>
            <a:r>
              <a:rPr lang="en-GB" dirty="0"/>
              <a:t>Cyber </a:t>
            </a:r>
            <a:r>
              <a:rPr lang="en-GB"/>
              <a:t>Range – TOOLS, DOCUMENTS, DA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3389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10B52-F42A-401C-89CC-AEE8B0341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me Based Cyber Security Training </a:t>
            </a:r>
            <a:r>
              <a:rPr lang="en-US" sz="1800" b="0" i="1" dirty="0"/>
              <a:t>(partner XXX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68189-4FCB-4030-80F8-C0994006C6A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2" y="1976284"/>
            <a:ext cx="10368000" cy="4334516"/>
          </a:xfrm>
        </p:spPr>
        <p:txBody>
          <a:bodyPr/>
          <a:lstStyle/>
          <a:p>
            <a:r>
              <a:rPr lang="en-US" sz="2400" dirty="0"/>
              <a:t>Cyber security games - state of the art</a:t>
            </a:r>
          </a:p>
          <a:p>
            <a:r>
              <a:rPr lang="en-US" sz="2400" dirty="0"/>
              <a:t>Architecture and description of XXX cyber security games </a:t>
            </a:r>
          </a:p>
          <a:p>
            <a:r>
              <a:rPr lang="en-US" sz="2400" dirty="0"/>
              <a:t>Scenarios ………….</a:t>
            </a:r>
          </a:p>
          <a:p>
            <a:r>
              <a:rPr lang="en-US" sz="2400" dirty="0"/>
              <a:t>Instructions for providing …………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6376796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76D9F-F61E-46A7-9771-308BC692A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ture the flag or self online training</a:t>
            </a:r>
          </a:p>
        </p:txBody>
      </p:sp>
      <p:pic>
        <p:nvPicPr>
          <p:cNvPr id="7" name="Content Placeholder 6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714DD2D7-E54B-463F-BC0A-60C952D2127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26" y="1165539"/>
            <a:ext cx="10022287" cy="5144774"/>
          </a:xfrm>
        </p:spPr>
      </p:pic>
    </p:spTree>
    <p:extLst>
      <p:ext uri="{BB962C8B-B14F-4D97-AF65-F5344CB8AC3E}">
        <p14:creationId xmlns:p14="http://schemas.microsoft.com/office/powerpoint/2010/main" val="2862046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76D9F-F61E-46A7-9771-308BC692A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online training tools</a:t>
            </a:r>
          </a:p>
        </p:txBody>
      </p:sp>
      <p:pic>
        <p:nvPicPr>
          <p:cNvPr id="6" name="Content Placeholder 5" descr="Text, letter&#10;&#10;Description automatically generated">
            <a:extLst>
              <a:ext uri="{FF2B5EF4-FFF2-40B4-BE49-F238E27FC236}">
                <a16:creationId xmlns:a16="http://schemas.microsoft.com/office/drawing/2014/main" id="{146DF79B-DFF8-4538-BCFE-631F1074F4D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2" y="1264024"/>
            <a:ext cx="10558043" cy="5034649"/>
          </a:xfrm>
        </p:spPr>
      </p:pic>
    </p:spTree>
    <p:extLst>
      <p:ext uri="{BB962C8B-B14F-4D97-AF65-F5344CB8AC3E}">
        <p14:creationId xmlns:p14="http://schemas.microsoft.com/office/powerpoint/2010/main" val="841210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11E4B-1B49-43AA-BD2A-0E36F5CE4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What should we (partners) do</a:t>
            </a:r>
            <a:r>
              <a:rPr lang="lt-LT" sz="2800" dirty="0"/>
              <a:t>?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9F0033-D5D6-4151-A0B0-DC9A0BAA827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83982"/>
            <a:ext cx="10368000" cy="360735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3600" dirty="0"/>
              <a:t>If the partners agree with the proposed roadmap of D9.4:</a:t>
            </a:r>
            <a:endParaRPr lang="lt-LT" sz="3600" dirty="0"/>
          </a:p>
          <a:p>
            <a:pPr marL="0" indent="0">
              <a:buNone/>
            </a:pPr>
            <a:endParaRPr lang="lt-LT" sz="3600" dirty="0"/>
          </a:p>
          <a:p>
            <a:r>
              <a:rPr lang="en-US" sz="3600" dirty="0"/>
              <a:t>KTU will prepare Chapter I (Structure of Cyber training  &amp;  exercise  Framework)</a:t>
            </a:r>
            <a:r>
              <a:rPr lang="lt-LT" sz="3600" dirty="0"/>
              <a:t> </a:t>
            </a:r>
            <a:r>
              <a:rPr lang="en-US" sz="3600" dirty="0"/>
              <a:t>and</a:t>
            </a:r>
            <a:r>
              <a:rPr lang="lt-LT" sz="3600" dirty="0"/>
              <a:t> </a:t>
            </a:r>
            <a:r>
              <a:rPr lang="en-US" sz="3600" dirty="0"/>
              <a:t>develop</a:t>
            </a:r>
            <a:r>
              <a:rPr lang="lt-LT" sz="3600" dirty="0"/>
              <a:t> </a:t>
            </a:r>
            <a:r>
              <a:rPr lang="en-US" sz="3600" dirty="0"/>
              <a:t>Cyber Range</a:t>
            </a:r>
            <a:r>
              <a:rPr lang="lt-LT" sz="3600" dirty="0"/>
              <a:t> (</a:t>
            </a:r>
            <a:r>
              <a:rPr lang="en-US" sz="3600" dirty="0"/>
              <a:t>Chapter II.1</a:t>
            </a:r>
            <a:r>
              <a:rPr lang="lt-LT" sz="3600" dirty="0"/>
              <a:t>).</a:t>
            </a:r>
          </a:p>
          <a:p>
            <a:r>
              <a:rPr lang="en-US" sz="3600" dirty="0"/>
              <a:t>Other partners will develop other Training &amp; exercise activities</a:t>
            </a:r>
            <a:r>
              <a:rPr lang="lt-LT" sz="3600" dirty="0"/>
              <a:t>.</a:t>
            </a:r>
          </a:p>
          <a:p>
            <a:r>
              <a:rPr lang="lt-LT" sz="3600" dirty="0"/>
              <a:t>...</a:t>
            </a:r>
          </a:p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3185136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7D72A-0E1C-DD47-819D-6501ED33C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6773675" cy="481467"/>
          </a:xfrm>
        </p:spPr>
        <p:txBody>
          <a:bodyPr/>
          <a:lstStyle/>
          <a:p>
            <a:r>
              <a:rPr lang="en-GB" dirty="0"/>
              <a:t>D9.4  Pilot  of  Cyber  training  &amp;  exercise  Framework Roadmap</a:t>
            </a:r>
            <a:endParaRPr lang="en-L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051D8E-F6FA-394D-BD06-5C1C323191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Kaunas University of Technology</a:t>
            </a:r>
          </a:p>
        </p:txBody>
      </p:sp>
    </p:spTree>
    <p:extLst>
      <p:ext uri="{BB962C8B-B14F-4D97-AF65-F5344CB8AC3E}">
        <p14:creationId xmlns:p14="http://schemas.microsoft.com/office/powerpoint/2010/main" val="24191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29E37-B314-4530-8F9C-046110186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28" y="317660"/>
            <a:ext cx="11385756" cy="792000"/>
          </a:xfrm>
        </p:spPr>
        <p:txBody>
          <a:bodyPr/>
          <a:lstStyle/>
          <a:p>
            <a:r>
              <a:rPr lang="en-GB" dirty="0"/>
              <a:t>D9.4  Pilot  of  Cyber  training  &amp;  exercise  Framework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liminary structure of the deliverable/repor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72BBC7-8581-4C30-9436-598F721791B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1" y="1406013"/>
            <a:ext cx="10795359" cy="4581831"/>
          </a:xfrm>
        </p:spPr>
        <p:txBody>
          <a:bodyPr vert="horz" lIns="0" tIns="0" rIns="0" bIns="0" rtlCol="0" anchor="t">
            <a:normAutofit/>
          </a:bodyPr>
          <a:lstStyle/>
          <a:p>
            <a:pPr marL="514350" indent="-514350">
              <a:buFont typeface="+mj-lt"/>
              <a:buAutoNum type="romanUcPeriod"/>
            </a:pPr>
            <a:r>
              <a:rPr lang="en-GB" sz="2400" b="1" dirty="0"/>
              <a:t>Structure </a:t>
            </a:r>
            <a:r>
              <a:rPr lang="en-GB" sz="2400" b="1"/>
              <a:t>of </a:t>
            </a:r>
            <a:r>
              <a:rPr lang="en-US" sz="2400" b="1"/>
              <a:t>Cyber </a:t>
            </a:r>
            <a:r>
              <a:rPr lang="en-US" sz="2400" b="1" dirty="0"/>
              <a:t>training  &amp;  exercise  Framework </a:t>
            </a:r>
            <a:r>
              <a:rPr lang="en-US" sz="2400" i="1" dirty="0"/>
              <a:t>(KTU)</a:t>
            </a:r>
          </a:p>
          <a:p>
            <a:pPr marL="766350" lvl="1" indent="-514350">
              <a:buFont typeface="+mj-lt"/>
              <a:buAutoNum type="arabicPeriod"/>
            </a:pPr>
            <a:r>
              <a:rPr lang="lt-LT" sz="2400" dirty="0"/>
              <a:t>K</a:t>
            </a:r>
            <a:r>
              <a:rPr lang="en-US" sz="2400" dirty="0" err="1"/>
              <a:t>nowledge</a:t>
            </a:r>
            <a:r>
              <a:rPr lang="en-US" sz="2400" dirty="0"/>
              <a:t> areas</a:t>
            </a:r>
          </a:p>
          <a:p>
            <a:pPr marL="766350" lvl="1" indent="-514350">
              <a:buFont typeface="+mj-lt"/>
              <a:buAutoNum type="arabicPeriod"/>
            </a:pPr>
            <a:r>
              <a:rPr lang="en-GB" sz="2400" dirty="0"/>
              <a:t>The target groups</a:t>
            </a:r>
          </a:p>
          <a:p>
            <a:pPr marL="766350" lvl="1" indent="-514350">
              <a:buFont typeface="+mj-lt"/>
              <a:buAutoNum type="arabicPeriod"/>
            </a:pPr>
            <a:r>
              <a:rPr lang="lt-LT" sz="2400" dirty="0"/>
              <a:t>K</a:t>
            </a:r>
            <a:r>
              <a:rPr lang="en-US" sz="2400" dirty="0" err="1"/>
              <a:t>nowledge</a:t>
            </a:r>
            <a:r>
              <a:rPr lang="en-US" sz="2400" dirty="0"/>
              <a:t> areas</a:t>
            </a:r>
            <a:r>
              <a:rPr lang="lt-LT" sz="2400" dirty="0"/>
              <a:t> - </a:t>
            </a:r>
            <a:r>
              <a:rPr lang="en-US" sz="2400" dirty="0"/>
              <a:t>Training</a:t>
            </a:r>
            <a:r>
              <a:rPr lang="lt-LT" sz="2400" dirty="0"/>
              <a:t> &amp; </a:t>
            </a:r>
            <a:r>
              <a:rPr lang="en-US" sz="2400" dirty="0"/>
              <a:t>exercise</a:t>
            </a:r>
            <a:r>
              <a:rPr lang="lt-LT" sz="2400" dirty="0"/>
              <a:t> </a:t>
            </a:r>
            <a:r>
              <a:rPr lang="en-US" sz="2400" dirty="0"/>
              <a:t>activities</a:t>
            </a:r>
            <a:r>
              <a:rPr lang="en-GB" sz="2400" dirty="0"/>
              <a:t> </a:t>
            </a:r>
          </a:p>
          <a:p>
            <a:pPr marL="514350" indent="-514350">
              <a:buFont typeface="+mj-lt"/>
              <a:buAutoNum type="romanUcPeriod"/>
            </a:pPr>
            <a:r>
              <a:rPr lang="lt-LT" sz="2400" b="1" dirty="0" err="1"/>
              <a:t>Cyber</a:t>
            </a:r>
            <a:r>
              <a:rPr lang="lt-LT" sz="2400" b="1" dirty="0"/>
              <a:t> </a:t>
            </a:r>
            <a:r>
              <a:rPr lang="lt-LT" sz="2400" b="1" dirty="0" err="1"/>
              <a:t>security</a:t>
            </a:r>
            <a:r>
              <a:rPr lang="lt-LT" sz="2400" b="1" dirty="0"/>
              <a:t> </a:t>
            </a:r>
            <a:r>
              <a:rPr lang="en-US" sz="2400" b="1" dirty="0"/>
              <a:t>Training</a:t>
            </a:r>
            <a:r>
              <a:rPr lang="lt-LT" sz="2400" b="1" dirty="0"/>
              <a:t> &amp; </a:t>
            </a:r>
            <a:r>
              <a:rPr lang="en-US" sz="2400" b="1" dirty="0"/>
              <a:t>exercise</a:t>
            </a:r>
            <a:r>
              <a:rPr lang="lt-LT" sz="2400" b="1" dirty="0"/>
              <a:t> </a:t>
            </a:r>
            <a:r>
              <a:rPr lang="en-US" sz="2400" b="1" dirty="0"/>
              <a:t>activities</a:t>
            </a:r>
            <a:endParaRPr lang="lt-LT" sz="2400" b="1" dirty="0"/>
          </a:p>
          <a:p>
            <a:pPr marL="766350" lvl="1" indent="-514350">
              <a:buFont typeface="+mj-lt"/>
              <a:buAutoNum type="arabicPeriod"/>
            </a:pPr>
            <a:r>
              <a:rPr lang="lt-LT" sz="2400" dirty="0" err="1"/>
              <a:t>Cyber</a:t>
            </a:r>
            <a:r>
              <a:rPr lang="lt-LT" sz="2400" dirty="0"/>
              <a:t> Range</a:t>
            </a:r>
            <a:r>
              <a:rPr lang="en-US" sz="2400" dirty="0"/>
              <a:t> </a:t>
            </a:r>
            <a:r>
              <a:rPr lang="lt-LT" sz="1800" i="1" dirty="0"/>
              <a:t>(</a:t>
            </a:r>
            <a:r>
              <a:rPr lang="lt-LT" sz="1800" b="1" i="1" dirty="0"/>
              <a:t>KTU)</a:t>
            </a:r>
          </a:p>
          <a:p>
            <a:pPr marL="766350" lvl="1" indent="-514350">
              <a:buFont typeface="+mj-lt"/>
              <a:buAutoNum type="arabicPeriod"/>
            </a:pPr>
            <a:r>
              <a:rPr lang="lt-LT" sz="2400" b="1" dirty="0"/>
              <a:t>...</a:t>
            </a: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lang="lt-LT" sz="2400" dirty="0" err="1"/>
              <a:t>Cyber</a:t>
            </a:r>
            <a:r>
              <a:rPr lang="lt-LT" sz="2400" dirty="0"/>
              <a:t> </a:t>
            </a:r>
            <a:r>
              <a:rPr lang="lt-LT" sz="2400" dirty="0" err="1"/>
              <a:t>Games</a:t>
            </a:r>
            <a:r>
              <a:rPr lang="en-US" sz="2400" dirty="0"/>
              <a:t> </a:t>
            </a:r>
            <a:r>
              <a:rPr kumimoji="0" lang="lt-L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lt-L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ner</a:t>
            </a:r>
            <a:r>
              <a:rPr kumimoji="0" lang="lt-L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XX</a:t>
            </a:r>
            <a:r>
              <a:rPr kumimoji="0" lang="lt-L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766350" lvl="1" indent="-514350">
              <a:buFont typeface="+mj-lt"/>
              <a:buAutoNum type="arabicPeriod"/>
            </a:pPr>
            <a:r>
              <a:rPr lang="lt-LT" sz="2400" dirty="0"/>
              <a:t>..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06885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2E07BA-5DA4-42C2-A58F-B4540B20F4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Knowledge areas are defined by:</a:t>
            </a:r>
          </a:p>
          <a:p>
            <a:r>
              <a:rPr lang="en-US" dirty="0"/>
              <a:t>SPARTA-D9.1 — Cybersecurity skills  </a:t>
            </a:r>
          </a:p>
          <a:p>
            <a:r>
              <a:rPr lang="en-US" dirty="0"/>
              <a:t>SPARTA-D9.2 — Curricula descriptions</a:t>
            </a:r>
          </a:p>
          <a:p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6497023-4381-4749-BB0E-C455A18EFFA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995738" y="1489045"/>
            <a:ext cx="6815137" cy="467524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FC778C3-4265-4892-98DB-DE39CED46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317660"/>
            <a:ext cx="11119821" cy="792000"/>
          </a:xfrm>
        </p:spPr>
        <p:txBody>
          <a:bodyPr/>
          <a:lstStyle/>
          <a:p>
            <a:r>
              <a:rPr lang="en-US" dirty="0"/>
              <a:t>Cyber security  Knowledge areas &amp; target groups</a:t>
            </a:r>
          </a:p>
        </p:txBody>
      </p:sp>
    </p:spTree>
    <p:extLst>
      <p:ext uri="{BB962C8B-B14F-4D97-AF65-F5344CB8AC3E}">
        <p14:creationId xmlns:p14="http://schemas.microsoft.com/office/powerpoint/2010/main" val="799524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C618F-B7D2-4DCE-8734-C13026C42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owledge areas - Training &amp; exercise activities</a:t>
            </a:r>
            <a:endParaRPr lang="en-GB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5C53CD0-2341-4E1D-9510-B0E9394EB2F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190458" y="1414629"/>
            <a:ext cx="9517453" cy="510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862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76D9F-F61E-46A7-9771-308BC692A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&amp; exercise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2C29BA-7883-4DE8-BF44-C60D41F1C13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lt-L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</a:t>
            </a:r>
            <a:r>
              <a:rPr kumimoji="0" lang="lt-LT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g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TU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lt-LT" sz="2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6350" lvl="1" indent="-514350">
              <a:buClr>
                <a:srgbClr val="BC2026"/>
              </a:buClr>
              <a:buFont typeface="+mj-lt"/>
              <a:buAutoNum type="arabicPeriod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-top exercises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artner XXX)</a:t>
            </a: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Seminar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artner XXX)</a:t>
            </a:r>
            <a:endParaRPr lang="en-US" sz="2400" dirty="0">
              <a:solidFill>
                <a:srgbClr val="000000"/>
              </a:solidFill>
              <a:latin typeface="Arial"/>
            </a:endParaRP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s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artner XXX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</a:t>
            </a:r>
            <a:r>
              <a:rPr kumimoji="0" lang="lt-LT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m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artner XXX)</a:t>
            </a:r>
            <a:endParaRPr kumimoji="0" lang="lt-LT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ulation based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artner XXX)</a:t>
            </a: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lang="en-US" sz="2400" i="1" dirty="0">
                <a:solidFill>
                  <a:srgbClr val="000000"/>
                </a:solidFill>
                <a:latin typeface="Arial"/>
              </a:rPr>
              <a:t>Capture-the-Flag (partner XXX, </a:t>
            </a:r>
            <a:r>
              <a:rPr lang="en-US" sz="2400" b="1" i="1" dirty="0">
                <a:solidFill>
                  <a:srgbClr val="000000"/>
                </a:solidFill>
                <a:latin typeface="Arial"/>
              </a:rPr>
              <a:t>KTU example</a:t>
            </a:r>
            <a:r>
              <a:rPr lang="en-US" sz="2400" i="1" dirty="0">
                <a:solidFill>
                  <a:srgbClr val="000000"/>
                </a:solidFill>
                <a:latin typeface="Arial"/>
              </a:rPr>
              <a:t>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lt-LT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6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+mj-lt"/>
              <a:buAutoNum type="arabicPeriod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18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10B52-F42A-401C-89CC-AEE8B0341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TU </a:t>
            </a:r>
            <a:r>
              <a:rPr lang="lt-LT" dirty="0" err="1"/>
              <a:t>Cyber</a:t>
            </a:r>
            <a:r>
              <a:rPr lang="lt-LT" dirty="0"/>
              <a:t> Rang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68189-4FCB-4030-80F8-C0994006C6A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2" y="1976284"/>
            <a:ext cx="10368000" cy="4334516"/>
          </a:xfrm>
        </p:spPr>
        <p:txBody>
          <a:bodyPr/>
          <a:lstStyle/>
          <a:p>
            <a:r>
              <a:rPr lang="en-US" sz="2400" dirty="0"/>
              <a:t>Cyber range - state of the art (focus on the proactive measures and technical skills)</a:t>
            </a:r>
          </a:p>
          <a:p>
            <a:r>
              <a:rPr lang="en-US" sz="2400" dirty="0"/>
              <a:t>Infrastructure of KTU cyber range</a:t>
            </a:r>
          </a:p>
          <a:p>
            <a:r>
              <a:rPr lang="en-US" sz="2400" dirty="0"/>
              <a:t>Scenarios (“story line”) of KTU cyber range</a:t>
            </a:r>
          </a:p>
          <a:p>
            <a:r>
              <a:rPr lang="en-US" sz="2400" dirty="0"/>
              <a:t>Instructions for providing of KTU cyber range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8617599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18E0F-4096-489B-9885-3DB8FD462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Cyber </a:t>
            </a:r>
            <a:r>
              <a:rPr lang="en-GB"/>
              <a:t>Range – COVERED KNOWLEDGE AREA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009" y="1330088"/>
            <a:ext cx="9640491" cy="457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047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vadinimas 1">
            <a:extLst>
              <a:ext uri="{FF2B5EF4-FFF2-40B4-BE49-F238E27FC236}">
                <a16:creationId xmlns:a16="http://schemas.microsoft.com/office/drawing/2014/main" id="{9337CE11-8BDB-4177-A9E2-59899F0B3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314313"/>
            <a:ext cx="10223890" cy="666747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Cyber Range taxonomy </a:t>
            </a:r>
            <a:r>
              <a:rPr lang="en-US" sz="1800" dirty="0">
                <a:ea typeface="+mj-lt"/>
                <a:cs typeface="+mj-lt"/>
              </a:rPr>
              <a:t>(</a:t>
            </a:r>
            <a:r>
              <a:rPr lang="en-US" sz="1800" b="1" dirty="0"/>
              <a:t>Cyber range - state of the art)</a:t>
            </a:r>
            <a:endParaRPr lang="lt-LT" sz="1800" dirty="0"/>
          </a:p>
        </p:txBody>
      </p:sp>
      <p:pic>
        <p:nvPicPr>
          <p:cNvPr id="6" name="Paveikslėlis 6">
            <a:extLst>
              <a:ext uri="{FF2B5EF4-FFF2-40B4-BE49-F238E27FC236}">
                <a16:creationId xmlns:a16="http://schemas.microsoft.com/office/drawing/2014/main" id="{A8554266-EC09-4682-AA00-7167C24E62BF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140570" y="896711"/>
            <a:ext cx="6306910" cy="5064578"/>
          </a:xfrm>
        </p:spPr>
      </p:pic>
      <p:sp>
        <p:nvSpPr>
          <p:cNvPr id="5" name="Paveikslėlio vietos rezervavimo ženklas 4">
            <a:extLst>
              <a:ext uri="{FF2B5EF4-FFF2-40B4-BE49-F238E27FC236}">
                <a16:creationId xmlns:a16="http://schemas.microsoft.com/office/drawing/2014/main" id="{5390B114-F3C6-4BDE-830D-D659074C8F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666802" y="0"/>
            <a:ext cx="1122815" cy="6858000"/>
          </a:xfrm>
        </p:spPr>
      </p:sp>
    </p:spTree>
    <p:extLst>
      <p:ext uri="{BB962C8B-B14F-4D97-AF65-F5344CB8AC3E}">
        <p14:creationId xmlns:p14="http://schemas.microsoft.com/office/powerpoint/2010/main" val="1909573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C67BA-B0D9-48BB-9C48-F3E644529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5181" y="317661"/>
            <a:ext cx="6335732" cy="784061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KTU cyber R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C0D524-3D6F-4C15-9B1D-BE5598EFCA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75181" y="1794141"/>
            <a:ext cx="6335732" cy="4514583"/>
          </a:xfrm>
        </p:spPr>
        <p:txBody>
          <a:bodyPr>
            <a:normAutofit/>
          </a:bodyPr>
          <a:lstStyle/>
          <a:p>
            <a:r>
              <a:rPr lang="en-GB" sz="2400" dirty="0"/>
              <a:t>This cyber defence exercise provides a unique opportunity to all type of specialists to test the knowledge and skills they have in live-fire conditions by using technical and organizational measures. </a:t>
            </a:r>
          </a:p>
          <a:p>
            <a:r>
              <a:rPr lang="en-GB" sz="2400" dirty="0"/>
              <a:t>KTU has experience in organizing National Cyber Range exercises.</a:t>
            </a:r>
          </a:p>
          <a:p>
            <a:r>
              <a:rPr lang="en-GB" sz="2400" dirty="0"/>
              <a:t>Opportunity to participate not only with technical knowledge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7732F53-11FA-417F-B319-A575A853C4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/>
          <a:lstStyle/>
          <a:p>
            <a:r>
              <a:rPr lang="en-US" dirty="0"/>
              <a:t>Cyber Range</a:t>
            </a:r>
          </a:p>
        </p:txBody>
      </p:sp>
      <p:pic>
        <p:nvPicPr>
          <p:cNvPr id="5" name="Picture 4" descr="A picture containing building, table, blue, sitting&#10;&#10;Description automatically generated">
            <a:extLst>
              <a:ext uri="{FF2B5EF4-FFF2-40B4-BE49-F238E27FC236}">
                <a16:creationId xmlns:a16="http://schemas.microsoft.com/office/drawing/2014/main" id="{71376B61-DD3C-4782-B95C-50823271E5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59" r="32739" b="-2"/>
          <a:stretch/>
        </p:blipFill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482882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as" ma:contentTypeID="0x010100DD2D4E0EC8BF9048B50EBC222978E92D" ma:contentTypeVersion="15" ma:contentTypeDescription="Kurkite naują dokumentą." ma:contentTypeScope="" ma:versionID="797ba9f7a3ae0925aa61aaad1e816e5c">
  <xsd:schema xmlns:xsd="http://www.w3.org/2001/XMLSchema" xmlns:xs="http://www.w3.org/2001/XMLSchema" xmlns:p="http://schemas.microsoft.com/office/2006/metadata/properties" xmlns:ns3="56bb27ec-6cb0-4d3c-8cd3-9cf05db0764d" xmlns:ns4="4d2c461e-3f9a-4a3f-9697-75bd7e1d39d4" targetNamespace="http://schemas.microsoft.com/office/2006/metadata/properties" ma:root="true" ma:fieldsID="123aaa02f186fd1a156e50a4672428ca" ns3:_="" ns4:_="">
    <xsd:import namespace="56bb27ec-6cb0-4d3c-8cd3-9cf05db0764d"/>
    <xsd:import namespace="4d2c461e-3f9a-4a3f-9697-75bd7e1d39d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ingHintHash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bb27ec-6cb0-4d3c-8cd3-9cf05db076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Bendrinama s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Bendrinimo užuominos maiša" ma:internalName="SharingHintHash" ma:readOnly="true">
      <xsd:simpleType>
        <xsd:restriction base="dms:Text"/>
      </xsd:simpleType>
    </xsd:element>
    <xsd:element name="SharedWithDetails" ma:index="10" nillable="true" ma:displayName="Bendrinta su išsamia informacija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Paskutinį kartą bendrinta pagal vartotoją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Paskutinį kartą bendrinta pagal laiką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2c461e-3f9a-4a3f-9697-75bd7e1d39d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urinio tipas"/>
        <xsd:element ref="dc:title" minOccurs="0" maxOccurs="1" ma:index="4" ma:displayName="Antraštė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AF0FC58-3CC9-4881-9456-97D0A6A857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bb27ec-6cb0-4d3c-8cd3-9cf05db0764d"/>
    <ds:schemaRef ds:uri="4d2c461e-3f9a-4a3f-9697-75bd7e1d39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793EFB-74A0-4955-9C3C-9BA244FC8A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FFA76E-C137-452D-9E6A-CB276DBF4DA0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4d2c461e-3f9a-4a3f-9697-75bd7e1d39d4"/>
    <ds:schemaRef ds:uri="http://purl.org/dc/dcmitype/"/>
    <ds:schemaRef ds:uri="http://schemas.openxmlformats.org/package/2006/metadata/core-properties"/>
    <ds:schemaRef ds:uri="56bb27ec-6cb0-4d3c-8cd3-9cf05db0764d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04</TotalTime>
  <Words>490</Words>
  <Application>Microsoft Office PowerPoint</Application>
  <PresentationFormat>Plačiaekranė</PresentationFormat>
  <Paragraphs>79</Paragraphs>
  <Slides>16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Skaidrių pavadinimai</vt:lpstr>
      </vt:variant>
      <vt:variant>
        <vt:i4>16</vt:i4>
      </vt:variant>
    </vt:vector>
  </HeadingPairs>
  <TitlesOfParts>
    <vt:vector size="17" baseType="lpstr">
      <vt:lpstr>Office Theme</vt:lpstr>
      <vt:lpstr>D9.4  Pilot  of  Cyber  training  &amp;  exercise  Framework Roadmap</vt:lpstr>
      <vt:lpstr>D9.4  Pilot  of  Cyber  training  &amp;  exercise  Framework Preliminary structure of the deliverable/report</vt:lpstr>
      <vt:lpstr>Cyber security  Knowledge areas &amp; target groups</vt:lpstr>
      <vt:lpstr>Knowledge areas - Training &amp; exercise activities</vt:lpstr>
      <vt:lpstr>Training &amp; exercise activities</vt:lpstr>
      <vt:lpstr>KTU Cyber Range</vt:lpstr>
      <vt:lpstr>Cyber Range – COVERED KNOWLEDGE AREAS</vt:lpstr>
      <vt:lpstr>Cyber Range taxonomy (Cyber range - state of the art)</vt:lpstr>
      <vt:lpstr>KTU cyber Range</vt:lpstr>
      <vt:lpstr>KTU Cyber Range IDEA</vt:lpstr>
      <vt:lpstr>Cyber Range – TOOLS, DOCUMENTS, DATA</vt:lpstr>
      <vt:lpstr>Game Based Cyber Security Training (partner XXX)</vt:lpstr>
      <vt:lpstr>Capture the flag or self online training</vt:lpstr>
      <vt:lpstr>self online training tools</vt:lpstr>
      <vt:lpstr>What should we (partners) do?</vt:lpstr>
      <vt:lpstr>D9.4  Pilot  of  Cyber  training  &amp;  exercise  Framework Roadma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9.4  Pilot  of  Cyber  training  &amp;  exercise  Framework Roadmap</dc:title>
  <dc:creator>Šarūnas Grigaliūnas</dc:creator>
  <cp:lastModifiedBy>Sarunas Grigaliunas</cp:lastModifiedBy>
  <cp:revision>29</cp:revision>
  <dcterms:created xsi:type="dcterms:W3CDTF">2020-10-13T05:53:08Z</dcterms:created>
  <dcterms:modified xsi:type="dcterms:W3CDTF">2020-11-02T16:0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2D4E0EC8BF9048B50EBC222978E92D</vt:lpwstr>
  </property>
</Properties>
</file>